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3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4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5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6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8.xml" ContentType="application/vnd.openxmlformats-officedocument.presentationml.tag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26"/>
  </p:notesMasterIdLst>
  <p:sldIdLst>
    <p:sldId id="256" r:id="rId3"/>
    <p:sldId id="257" r:id="rId4"/>
    <p:sldId id="258" r:id="rId5"/>
    <p:sldId id="259" r:id="rId6"/>
    <p:sldId id="274" r:id="rId7"/>
    <p:sldId id="279" r:id="rId8"/>
    <p:sldId id="275" r:id="rId9"/>
    <p:sldId id="276" r:id="rId10"/>
    <p:sldId id="277" r:id="rId11"/>
    <p:sldId id="278" r:id="rId12"/>
    <p:sldId id="260" r:id="rId13"/>
    <p:sldId id="261" r:id="rId14"/>
    <p:sldId id="266" r:id="rId15"/>
    <p:sldId id="284" r:id="rId16"/>
    <p:sldId id="285" r:id="rId17"/>
    <p:sldId id="270" r:id="rId18"/>
    <p:sldId id="271" r:id="rId19"/>
    <p:sldId id="280" r:id="rId20"/>
    <p:sldId id="281" r:id="rId21"/>
    <p:sldId id="272" r:id="rId22"/>
    <p:sldId id="273" r:id="rId23"/>
    <p:sldId id="267" r:id="rId24"/>
    <p:sldId id="269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946" autoAdjust="0"/>
    <p:restoredTop sz="87602" autoAdjust="0"/>
  </p:normalViewPr>
  <p:slideViewPr>
    <p:cSldViewPr snapToGrid="0">
      <p:cViewPr varScale="1">
        <p:scale>
          <a:sx n="111" d="100"/>
          <a:sy n="111" d="100"/>
        </p:scale>
        <p:origin x="22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ngelk\OneDrive%20-%20San%20Mateo%20County%20Community%20College%20District\Guided%20Pathways\Key%20Performance%20Indicators\Data%20for%20KPIs%20Sept%207%202021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ngelk\OneDrive%20-%20San%20Mateo%20County%20Community%20College%20District\Guided%20Pathways\Key%20Performance%20Indicators\Data%20for%20KPIs%20Sept%207%202021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ngelk\OneDrive%20-%20San%20Mateo%20County%20Community%20College%20District\Guided%20Pathways\Key%20Performance%20Indicators\Data%20for%20KPIs%20Sept%207%202021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ngelk\OneDrive%20-%20San%20Mateo%20County%20Community%20College%20District\Guided%20Pathways\Key%20Performance%20Indicators\Data%20for%20KPIs%20Sept%207%202021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ngelk\OneDrive%20-%20San%20Mateo%20County%20Community%20College%20District\Guided%20Pathways\Key%20Performance%20Indicators\Data%20for%20KPIs%20Sept%207%202021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ngelk\Dropbox%20(SMCCD)\PRIE%20-%20Canada%20College\Scorecard\20-21%20Scorecard\College%20Scorecard%20Metrics_20-21_2021-8-5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laxtona\Downloads\New__Document%20(15)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2</c:f>
              <c:strCache>
                <c:ptCount val="1"/>
                <c:pt idx="0">
                  <c:v>Campus-wide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3:$A$7</c:f>
              <c:strCache>
                <c:ptCount val="5"/>
                <c:pt idx="0">
                  <c:v>2016-17</c:v>
                </c:pt>
                <c:pt idx="1">
                  <c:v>2017-18</c:v>
                </c:pt>
                <c:pt idx="2">
                  <c:v>2018-19</c:v>
                </c:pt>
                <c:pt idx="3">
                  <c:v>2019-20</c:v>
                </c:pt>
                <c:pt idx="4">
                  <c:v>2020-21</c:v>
                </c:pt>
              </c:strCache>
            </c:strRef>
          </c:cat>
          <c:val>
            <c:numRef>
              <c:f>Sheet1!$B$3:$B$7</c:f>
              <c:numCache>
                <c:formatCode>General</c:formatCode>
                <c:ptCount val="5"/>
                <c:pt idx="0" formatCode="#,##0">
                  <c:v>1024</c:v>
                </c:pt>
                <c:pt idx="1">
                  <c:v>996</c:v>
                </c:pt>
                <c:pt idx="2" formatCode="#,##0">
                  <c:v>1129</c:v>
                </c:pt>
                <c:pt idx="3" formatCode="#,##0">
                  <c:v>1132</c:v>
                </c:pt>
                <c:pt idx="4" formatCode="#,##0">
                  <c:v>11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771-40AB-AC05-C07D8218FDEB}"/>
            </c:ext>
          </c:extLst>
        </c:ser>
        <c:ser>
          <c:idx val="1"/>
          <c:order val="1"/>
          <c:tx>
            <c:strRef>
              <c:f>Sheet1!$C$2</c:f>
              <c:strCache>
                <c:ptCount val="1"/>
                <c:pt idx="0">
                  <c:v>Home Campus Only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3:$A$7</c:f>
              <c:strCache>
                <c:ptCount val="5"/>
                <c:pt idx="0">
                  <c:v>2016-17</c:v>
                </c:pt>
                <c:pt idx="1">
                  <c:v>2017-18</c:v>
                </c:pt>
                <c:pt idx="2">
                  <c:v>2018-19</c:v>
                </c:pt>
                <c:pt idx="3">
                  <c:v>2019-20</c:v>
                </c:pt>
                <c:pt idx="4">
                  <c:v>2020-21</c:v>
                </c:pt>
              </c:strCache>
            </c:strRef>
          </c:cat>
          <c:val>
            <c:numRef>
              <c:f>Sheet1!$C$3:$C$7</c:f>
              <c:numCache>
                <c:formatCode>General</c:formatCode>
                <c:ptCount val="5"/>
                <c:pt idx="3">
                  <c:v>915</c:v>
                </c:pt>
                <c:pt idx="4" formatCode="#,##0">
                  <c:v>11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771-40AB-AC05-C07D8218FDEB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1578496496"/>
        <c:axId val="1578499408"/>
      </c:lineChart>
      <c:catAx>
        <c:axId val="1578496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78499408"/>
        <c:crosses val="autoZero"/>
        <c:auto val="1"/>
        <c:lblAlgn val="ctr"/>
        <c:lblOffset val="100"/>
        <c:noMultiLvlLbl val="0"/>
      </c:catAx>
      <c:valAx>
        <c:axId val="157849940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784964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ourse Success Rates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8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1</c:f>
              <c:strCache>
                <c:ptCount val="1"/>
                <c:pt idx="0">
                  <c:v>First-Time Student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2:$A$16</c:f>
              <c:strCache>
                <c:ptCount val="5"/>
                <c:pt idx="0">
                  <c:v>2016-17</c:v>
                </c:pt>
                <c:pt idx="1">
                  <c:v>2017-18</c:v>
                </c:pt>
                <c:pt idx="2">
                  <c:v>2018-19</c:v>
                </c:pt>
                <c:pt idx="3">
                  <c:v>2019-20</c:v>
                </c:pt>
                <c:pt idx="4">
                  <c:v>2020-21</c:v>
                </c:pt>
              </c:strCache>
            </c:strRef>
          </c:cat>
          <c:val>
            <c:numRef>
              <c:f>Sheet1!$B$12:$B$16</c:f>
              <c:numCache>
                <c:formatCode>0%</c:formatCode>
                <c:ptCount val="5"/>
                <c:pt idx="0">
                  <c:v>0.66</c:v>
                </c:pt>
                <c:pt idx="1">
                  <c:v>0.67</c:v>
                </c:pt>
                <c:pt idx="2">
                  <c:v>0.65</c:v>
                </c:pt>
                <c:pt idx="3">
                  <c:v>0.64</c:v>
                </c:pt>
                <c:pt idx="4">
                  <c:v>0.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DCA-46C6-90F3-A273D717528A}"/>
            </c:ext>
          </c:extLst>
        </c:ser>
        <c:ser>
          <c:idx val="1"/>
          <c:order val="1"/>
          <c:tx>
            <c:strRef>
              <c:f>Sheet1!$C$11</c:f>
              <c:strCache>
                <c:ptCount val="1"/>
                <c:pt idx="0">
                  <c:v>All Student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2:$A$16</c:f>
              <c:strCache>
                <c:ptCount val="5"/>
                <c:pt idx="0">
                  <c:v>2016-17</c:v>
                </c:pt>
                <c:pt idx="1">
                  <c:v>2017-18</c:v>
                </c:pt>
                <c:pt idx="2">
                  <c:v>2018-19</c:v>
                </c:pt>
                <c:pt idx="3">
                  <c:v>2019-20</c:v>
                </c:pt>
                <c:pt idx="4">
                  <c:v>2020-21</c:v>
                </c:pt>
              </c:strCache>
            </c:strRef>
          </c:cat>
          <c:val>
            <c:numRef>
              <c:f>Sheet1!$C$12:$C$16</c:f>
              <c:numCache>
                <c:formatCode>0%</c:formatCode>
                <c:ptCount val="5"/>
                <c:pt idx="0">
                  <c:v>0.73</c:v>
                </c:pt>
                <c:pt idx="1">
                  <c:v>0.73</c:v>
                </c:pt>
                <c:pt idx="2">
                  <c:v>0.73</c:v>
                </c:pt>
                <c:pt idx="3">
                  <c:v>0.72</c:v>
                </c:pt>
                <c:pt idx="4">
                  <c:v>0.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DCA-46C6-90F3-A273D717528A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1465054832"/>
        <c:axId val="1465056080"/>
      </c:lineChart>
      <c:catAx>
        <c:axId val="1465054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65056080"/>
        <c:crosses val="autoZero"/>
        <c:auto val="1"/>
        <c:lblAlgn val="ctr"/>
        <c:lblOffset val="100"/>
        <c:noMultiLvlLbl val="0"/>
      </c:catAx>
      <c:valAx>
        <c:axId val="14650560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650548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21</c:f>
              <c:strCache>
                <c:ptCount val="1"/>
                <c:pt idx="0">
                  <c:v>In the District</c:v>
                </c:pt>
              </c:strCache>
            </c:strRef>
          </c:tx>
          <c:spPr>
            <a:ln w="28575" cap="rnd">
              <a:solidFill>
                <a:schemeClr val="accent4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2:$A$26</c:f>
              <c:strCache>
                <c:ptCount val="5"/>
                <c:pt idx="0">
                  <c:v>2016-17</c:v>
                </c:pt>
                <c:pt idx="1">
                  <c:v>2017-18</c:v>
                </c:pt>
                <c:pt idx="2">
                  <c:v>2018-19</c:v>
                </c:pt>
                <c:pt idx="3">
                  <c:v>2019-20</c:v>
                </c:pt>
                <c:pt idx="4">
                  <c:v>2020-21</c:v>
                </c:pt>
              </c:strCache>
            </c:strRef>
          </c:cat>
          <c:val>
            <c:numRef>
              <c:f>Sheet1!$B$22:$B$26</c:f>
              <c:numCache>
                <c:formatCode>0%</c:formatCode>
                <c:ptCount val="5"/>
                <c:pt idx="0">
                  <c:v>0.19</c:v>
                </c:pt>
                <c:pt idx="1">
                  <c:v>0.2</c:v>
                </c:pt>
                <c:pt idx="2">
                  <c:v>0.19</c:v>
                </c:pt>
                <c:pt idx="3">
                  <c:v>0.52</c:v>
                </c:pt>
                <c:pt idx="4">
                  <c:v>0.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2B9-4926-8606-9E878A897CB2}"/>
            </c:ext>
          </c:extLst>
        </c:ser>
        <c:ser>
          <c:idx val="1"/>
          <c:order val="1"/>
          <c:tx>
            <c:strRef>
              <c:f>Sheet1!$C$21</c:f>
              <c:strCache>
                <c:ptCount val="1"/>
                <c:pt idx="0">
                  <c:v>At Cañada </c:v>
                </c:pt>
              </c:strCache>
            </c:strRef>
          </c:tx>
          <c:spPr>
            <a:ln w="28575" cap="rnd">
              <a:solidFill>
                <a:schemeClr val="accent6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2:$A$26</c:f>
              <c:strCache>
                <c:ptCount val="5"/>
                <c:pt idx="0">
                  <c:v>2016-17</c:v>
                </c:pt>
                <c:pt idx="1">
                  <c:v>2017-18</c:v>
                </c:pt>
                <c:pt idx="2">
                  <c:v>2018-19</c:v>
                </c:pt>
                <c:pt idx="3">
                  <c:v>2019-20</c:v>
                </c:pt>
                <c:pt idx="4">
                  <c:v>2020-21</c:v>
                </c:pt>
              </c:strCache>
            </c:strRef>
          </c:cat>
          <c:val>
            <c:numRef>
              <c:f>Sheet1!$C$22:$C$26</c:f>
              <c:numCache>
                <c:formatCode>0%</c:formatCode>
                <c:ptCount val="5"/>
                <c:pt idx="0">
                  <c:v>0.17</c:v>
                </c:pt>
                <c:pt idx="1">
                  <c:v>0.18</c:v>
                </c:pt>
                <c:pt idx="2">
                  <c:v>0.18</c:v>
                </c:pt>
                <c:pt idx="3">
                  <c:v>0.49</c:v>
                </c:pt>
                <c:pt idx="4">
                  <c:v>0.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2B9-4926-8606-9E878A897CB2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1578506896"/>
        <c:axId val="1578508976"/>
      </c:lineChart>
      <c:catAx>
        <c:axId val="15785068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78508976"/>
        <c:crosses val="autoZero"/>
        <c:auto val="1"/>
        <c:lblAlgn val="ctr"/>
        <c:lblOffset val="100"/>
        <c:noMultiLvlLbl val="0"/>
      </c:catAx>
      <c:valAx>
        <c:axId val="15785089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785068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37:$B$38</c:f>
              <c:strCache>
                <c:ptCount val="2"/>
                <c:pt idx="0">
                  <c:v>Completed both transfer-level MATH in the First Year</c:v>
                </c:pt>
                <c:pt idx="1">
                  <c:v>In the District</c:v>
                </c:pt>
              </c:strCache>
            </c:strRef>
          </c:tx>
          <c:spPr>
            <a:ln w="28575" cap="rnd">
              <a:solidFill>
                <a:schemeClr val="accent4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39:$A$43</c:f>
              <c:strCache>
                <c:ptCount val="5"/>
                <c:pt idx="0">
                  <c:v>2016-17</c:v>
                </c:pt>
                <c:pt idx="1">
                  <c:v>2017-18</c:v>
                </c:pt>
                <c:pt idx="2">
                  <c:v>2018-19</c:v>
                </c:pt>
                <c:pt idx="3">
                  <c:v>2019-20</c:v>
                </c:pt>
                <c:pt idx="4">
                  <c:v>2020-21</c:v>
                </c:pt>
              </c:strCache>
            </c:strRef>
          </c:cat>
          <c:val>
            <c:numRef>
              <c:f>Sheet1!$B$39:$B$43</c:f>
              <c:numCache>
                <c:formatCode>0%</c:formatCode>
                <c:ptCount val="5"/>
                <c:pt idx="0">
                  <c:v>0.24</c:v>
                </c:pt>
                <c:pt idx="1">
                  <c:v>0.25</c:v>
                </c:pt>
                <c:pt idx="2">
                  <c:v>0.22</c:v>
                </c:pt>
                <c:pt idx="3">
                  <c:v>0.6</c:v>
                </c:pt>
                <c:pt idx="4">
                  <c:v>0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39F-456B-911C-19CADBFD1DDA}"/>
            </c:ext>
          </c:extLst>
        </c:ser>
        <c:ser>
          <c:idx val="1"/>
          <c:order val="1"/>
          <c:tx>
            <c:strRef>
              <c:f>Sheet1!$C$37:$C$38</c:f>
              <c:strCache>
                <c:ptCount val="2"/>
                <c:pt idx="0">
                  <c:v>Completed both transfer-level MATH in the First Year</c:v>
                </c:pt>
                <c:pt idx="1">
                  <c:v>At Cañada </c:v>
                </c:pt>
              </c:strCache>
            </c:strRef>
          </c:tx>
          <c:spPr>
            <a:ln w="28575" cap="rnd">
              <a:solidFill>
                <a:schemeClr val="accent6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39:$A$43</c:f>
              <c:strCache>
                <c:ptCount val="5"/>
                <c:pt idx="0">
                  <c:v>2016-17</c:v>
                </c:pt>
                <c:pt idx="1">
                  <c:v>2017-18</c:v>
                </c:pt>
                <c:pt idx="2">
                  <c:v>2018-19</c:v>
                </c:pt>
                <c:pt idx="3">
                  <c:v>2019-20</c:v>
                </c:pt>
                <c:pt idx="4">
                  <c:v>2020-21</c:v>
                </c:pt>
              </c:strCache>
            </c:strRef>
          </c:cat>
          <c:val>
            <c:numRef>
              <c:f>Sheet1!$C$39:$C$43</c:f>
              <c:numCache>
                <c:formatCode>0%</c:formatCode>
                <c:ptCount val="5"/>
                <c:pt idx="0">
                  <c:v>0.24</c:v>
                </c:pt>
                <c:pt idx="1">
                  <c:v>0.23</c:v>
                </c:pt>
                <c:pt idx="2">
                  <c:v>0.21</c:v>
                </c:pt>
                <c:pt idx="3">
                  <c:v>0.57999999999999996</c:v>
                </c:pt>
                <c:pt idx="4">
                  <c:v>0.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39F-456B-911C-19CADBFD1DDA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1465047344"/>
        <c:axId val="1465048592"/>
      </c:lineChart>
      <c:catAx>
        <c:axId val="14650473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65048592"/>
        <c:crosses val="autoZero"/>
        <c:auto val="1"/>
        <c:lblAlgn val="ctr"/>
        <c:lblOffset val="100"/>
        <c:noMultiLvlLbl val="0"/>
      </c:catAx>
      <c:valAx>
        <c:axId val="14650485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650473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46:$B$47</c:f>
              <c:strCache>
                <c:ptCount val="2"/>
                <c:pt idx="0">
                  <c:v>Completed both transfer-level ENGLISH in the First Year</c:v>
                </c:pt>
                <c:pt idx="1">
                  <c:v>In the District</c:v>
                </c:pt>
              </c:strCache>
            </c:strRef>
          </c:tx>
          <c:spPr>
            <a:ln w="28575" cap="rnd">
              <a:solidFill>
                <a:schemeClr val="accent4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48:$A$52</c:f>
              <c:strCache>
                <c:ptCount val="5"/>
                <c:pt idx="0">
                  <c:v>2016-17</c:v>
                </c:pt>
                <c:pt idx="1">
                  <c:v>2017-18</c:v>
                </c:pt>
                <c:pt idx="2">
                  <c:v>2018-19</c:v>
                </c:pt>
                <c:pt idx="3">
                  <c:v>2019-20</c:v>
                </c:pt>
                <c:pt idx="4">
                  <c:v>2020-21</c:v>
                </c:pt>
              </c:strCache>
            </c:strRef>
          </c:cat>
          <c:val>
            <c:numRef>
              <c:f>Sheet1!$B$48:$B$52</c:f>
              <c:numCache>
                <c:formatCode>0%</c:formatCode>
                <c:ptCount val="5"/>
                <c:pt idx="0">
                  <c:v>0.36</c:v>
                </c:pt>
                <c:pt idx="1">
                  <c:v>0.36</c:v>
                </c:pt>
                <c:pt idx="2">
                  <c:v>0.36</c:v>
                </c:pt>
                <c:pt idx="3">
                  <c:v>0.63</c:v>
                </c:pt>
                <c:pt idx="4">
                  <c:v>0.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D45-403C-9A39-DFD05C825DBB}"/>
            </c:ext>
          </c:extLst>
        </c:ser>
        <c:ser>
          <c:idx val="1"/>
          <c:order val="1"/>
          <c:tx>
            <c:strRef>
              <c:f>Sheet1!$C$46:$C$47</c:f>
              <c:strCache>
                <c:ptCount val="2"/>
                <c:pt idx="0">
                  <c:v>Completed both transfer-level ENGLISH in the First Year</c:v>
                </c:pt>
                <c:pt idx="1">
                  <c:v>At Cañada </c:v>
                </c:pt>
              </c:strCache>
            </c:strRef>
          </c:tx>
          <c:spPr>
            <a:ln w="28575" cap="rnd">
              <a:solidFill>
                <a:schemeClr val="accent6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48:$A$52</c:f>
              <c:strCache>
                <c:ptCount val="5"/>
                <c:pt idx="0">
                  <c:v>2016-17</c:v>
                </c:pt>
                <c:pt idx="1">
                  <c:v>2017-18</c:v>
                </c:pt>
                <c:pt idx="2">
                  <c:v>2018-19</c:v>
                </c:pt>
                <c:pt idx="3">
                  <c:v>2019-20</c:v>
                </c:pt>
                <c:pt idx="4">
                  <c:v>2020-21</c:v>
                </c:pt>
              </c:strCache>
            </c:strRef>
          </c:cat>
          <c:val>
            <c:numRef>
              <c:f>Sheet1!$C$48:$C$52</c:f>
              <c:numCache>
                <c:formatCode>0%</c:formatCode>
                <c:ptCount val="5"/>
                <c:pt idx="0">
                  <c:v>0.33</c:v>
                </c:pt>
                <c:pt idx="1">
                  <c:v>0.34</c:v>
                </c:pt>
                <c:pt idx="2">
                  <c:v>0.34</c:v>
                </c:pt>
                <c:pt idx="3">
                  <c:v>0.61</c:v>
                </c:pt>
                <c:pt idx="4">
                  <c:v>0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D45-403C-9A39-DFD05C825DBB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1575290544"/>
        <c:axId val="1575292208"/>
      </c:lineChart>
      <c:catAx>
        <c:axId val="15752905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75292208"/>
        <c:crosses val="autoZero"/>
        <c:auto val="1"/>
        <c:lblAlgn val="ctr"/>
        <c:lblOffset val="100"/>
        <c:noMultiLvlLbl val="0"/>
      </c:catAx>
      <c:valAx>
        <c:axId val="15752922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752905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A$18</c:f>
              <c:strCache>
                <c:ptCount val="1"/>
                <c:pt idx="0">
                  <c:v>Fall to spring persistence rat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7:$F$17</c:f>
              <c:strCache>
                <c:ptCount val="5"/>
                <c:pt idx="0">
                  <c:v>2016-17</c:v>
                </c:pt>
                <c:pt idx="1">
                  <c:v>2017-18</c:v>
                </c:pt>
                <c:pt idx="2">
                  <c:v>2018-19</c:v>
                </c:pt>
                <c:pt idx="3">
                  <c:v>2019-20‡</c:v>
                </c:pt>
                <c:pt idx="4">
                  <c:v>2020-21‡</c:v>
                </c:pt>
              </c:strCache>
            </c:strRef>
          </c:cat>
          <c:val>
            <c:numRef>
              <c:f>Sheet1!$B$18:$F$18</c:f>
              <c:numCache>
                <c:formatCode>0%</c:formatCode>
                <c:ptCount val="5"/>
                <c:pt idx="0">
                  <c:v>0.61825479411327489</c:v>
                </c:pt>
                <c:pt idx="1">
                  <c:v>0.59584764283484237</c:v>
                </c:pt>
                <c:pt idx="2">
                  <c:v>0.58781594296824369</c:v>
                </c:pt>
                <c:pt idx="3">
                  <c:v>0.5306491372226787</c:v>
                </c:pt>
                <c:pt idx="4">
                  <c:v>0.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DF-4E6D-A378-592A09FFFBA5}"/>
            </c:ext>
          </c:extLst>
        </c:ser>
        <c:ser>
          <c:idx val="1"/>
          <c:order val="1"/>
          <c:tx>
            <c:strRef>
              <c:f>Sheet1!$A$19</c:f>
              <c:strCache>
                <c:ptCount val="1"/>
                <c:pt idx="0">
                  <c:v>Fall to fall persistence rat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7:$F$17</c:f>
              <c:strCache>
                <c:ptCount val="5"/>
                <c:pt idx="0">
                  <c:v>2016-17</c:v>
                </c:pt>
                <c:pt idx="1">
                  <c:v>2017-18</c:v>
                </c:pt>
                <c:pt idx="2">
                  <c:v>2018-19</c:v>
                </c:pt>
                <c:pt idx="3">
                  <c:v>2019-20‡</c:v>
                </c:pt>
                <c:pt idx="4">
                  <c:v>2020-21‡</c:v>
                </c:pt>
              </c:strCache>
            </c:strRef>
          </c:cat>
          <c:val>
            <c:numRef>
              <c:f>Sheet1!$B$19:$F$19</c:f>
              <c:numCache>
                <c:formatCode>0%</c:formatCode>
                <c:ptCount val="5"/>
                <c:pt idx="0">
                  <c:v>0.42381669175447401</c:v>
                </c:pt>
                <c:pt idx="1">
                  <c:v>0.40312500000000001</c:v>
                </c:pt>
                <c:pt idx="2">
                  <c:v>0.40671165420390298</c:v>
                </c:pt>
                <c:pt idx="3">
                  <c:v>0.3491103817585075</c:v>
                </c:pt>
                <c:pt idx="4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EDF-4E6D-A378-592A09FFFBA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087539760"/>
        <c:axId val="2087541840"/>
      </c:barChart>
      <c:catAx>
        <c:axId val="20875397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87541840"/>
        <c:crosses val="autoZero"/>
        <c:auto val="1"/>
        <c:lblAlgn val="ctr"/>
        <c:lblOffset val="100"/>
        <c:noMultiLvlLbl val="0"/>
      </c:catAx>
      <c:valAx>
        <c:axId val="2087541840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875397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E$12</c:f>
              <c:strCache>
                <c:ptCount val="1"/>
                <c:pt idx="0">
                  <c:v>% earning associate 100% of normal time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F$11:$J$11</c:f>
              <c:strCache>
                <c:ptCount val="5"/>
                <c:pt idx="0">
                  <c:v>2016-17</c:v>
                </c:pt>
                <c:pt idx="1">
                  <c:v>2017-18</c:v>
                </c:pt>
                <c:pt idx="2">
                  <c:v>2018-19</c:v>
                </c:pt>
                <c:pt idx="3">
                  <c:v>2019-20</c:v>
                </c:pt>
                <c:pt idx="4">
                  <c:v>2020-21</c:v>
                </c:pt>
              </c:strCache>
            </c:strRef>
          </c:cat>
          <c:val>
            <c:numRef>
              <c:f>Sheet1!$F$12:$J$12</c:f>
              <c:numCache>
                <c:formatCode>0%</c:formatCode>
                <c:ptCount val="5"/>
                <c:pt idx="0">
                  <c:v>1.5987210231814548E-2</c:v>
                </c:pt>
                <c:pt idx="1">
                  <c:v>1.4427412082957619E-2</c:v>
                </c:pt>
                <c:pt idx="2">
                  <c:v>2.0872865275142316E-2</c:v>
                </c:pt>
                <c:pt idx="3">
                  <c:v>2.059308072487644E-2</c:v>
                </c:pt>
                <c:pt idx="4">
                  <c:v>1.4999999999999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F0D-4BEF-88D4-E5F3F6F73C1B}"/>
            </c:ext>
          </c:extLst>
        </c:ser>
        <c:ser>
          <c:idx val="1"/>
          <c:order val="1"/>
          <c:tx>
            <c:strRef>
              <c:f>Sheet1!$E$13</c:f>
              <c:strCache>
                <c:ptCount val="1"/>
                <c:pt idx="0">
                  <c:v>% earning associate 150% of normal tim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F$11:$J$11</c:f>
              <c:strCache>
                <c:ptCount val="5"/>
                <c:pt idx="0">
                  <c:v>2016-17</c:v>
                </c:pt>
                <c:pt idx="1">
                  <c:v>2017-18</c:v>
                </c:pt>
                <c:pt idx="2">
                  <c:v>2018-19</c:v>
                </c:pt>
                <c:pt idx="3">
                  <c:v>2019-20</c:v>
                </c:pt>
                <c:pt idx="4">
                  <c:v>2020-21</c:v>
                </c:pt>
              </c:strCache>
            </c:strRef>
          </c:cat>
          <c:val>
            <c:numRef>
              <c:f>Sheet1!$F$13:$J$13</c:f>
              <c:numCache>
                <c:formatCode>0%</c:formatCode>
                <c:ptCount val="5"/>
                <c:pt idx="0">
                  <c:v>5.0381679389312976E-2</c:v>
                </c:pt>
                <c:pt idx="1">
                  <c:v>6.6346922462030375E-2</c:v>
                </c:pt>
                <c:pt idx="2">
                  <c:v>6.8530207394048692E-2</c:v>
                </c:pt>
                <c:pt idx="3">
                  <c:v>8.6337760910815936E-2</c:v>
                </c:pt>
                <c:pt idx="4">
                  <c:v>6.836902800658978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0D-4BEF-88D4-E5F3F6F73C1B}"/>
            </c:ext>
          </c:extLst>
        </c:ser>
        <c:ser>
          <c:idx val="2"/>
          <c:order val="2"/>
          <c:tx>
            <c:strRef>
              <c:f>Sheet1!$E$14</c:f>
              <c:strCache>
                <c:ptCount val="1"/>
                <c:pt idx="0">
                  <c:v>% earning associate 200% of normal time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F$11:$J$11</c:f>
              <c:strCache>
                <c:ptCount val="5"/>
                <c:pt idx="0">
                  <c:v>2016-17</c:v>
                </c:pt>
                <c:pt idx="1">
                  <c:v>2017-18</c:v>
                </c:pt>
                <c:pt idx="2">
                  <c:v>2018-19</c:v>
                </c:pt>
                <c:pt idx="3">
                  <c:v>2019-20</c:v>
                </c:pt>
                <c:pt idx="4">
                  <c:v>2020-21</c:v>
                </c:pt>
              </c:strCache>
            </c:strRef>
          </c:cat>
          <c:val>
            <c:numRef>
              <c:f>Sheet1!$F$14:$J$14</c:f>
              <c:numCache>
                <c:formatCode>0%</c:formatCode>
                <c:ptCount val="5"/>
                <c:pt idx="0">
                  <c:v>8.9328063241106717E-2</c:v>
                </c:pt>
                <c:pt idx="1">
                  <c:v>0.10152671755725191</c:v>
                </c:pt>
                <c:pt idx="2">
                  <c:v>0.14308553157474022</c:v>
                </c:pt>
                <c:pt idx="3">
                  <c:v>0.13976555455365194</c:v>
                </c:pt>
                <c:pt idx="4">
                  <c:v>0.107210626185958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F0D-4BEF-88D4-E5F3F6F73C1B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1831496095"/>
        <c:axId val="1934388847"/>
      </c:lineChart>
      <c:catAx>
        <c:axId val="18314960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34388847"/>
        <c:crosses val="autoZero"/>
        <c:auto val="1"/>
        <c:lblAlgn val="ctr"/>
        <c:lblOffset val="100"/>
        <c:noMultiLvlLbl val="0"/>
      </c:catAx>
      <c:valAx>
        <c:axId val="193438884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3149609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Report 1'!$F$17</c:f>
              <c:strCache>
                <c:ptCount val="1"/>
                <c:pt idx="0">
                  <c:v>Proportion First-time, Full-time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port 1'!$G$16:$K$16</c:f>
              <c:strCache>
                <c:ptCount val="5"/>
                <c:pt idx="0">
                  <c:v>2016-2017</c:v>
                </c:pt>
                <c:pt idx="1">
                  <c:v>2017-2018</c:v>
                </c:pt>
                <c:pt idx="2">
                  <c:v>2018-2019</c:v>
                </c:pt>
                <c:pt idx="3">
                  <c:v>2019-2020</c:v>
                </c:pt>
                <c:pt idx="4">
                  <c:v>2020-2021</c:v>
                </c:pt>
              </c:strCache>
            </c:strRef>
          </c:cat>
          <c:val>
            <c:numRef>
              <c:f>'Report 1'!$G$17:$K$17</c:f>
              <c:numCache>
                <c:formatCode>0%</c:formatCode>
                <c:ptCount val="5"/>
                <c:pt idx="0">
                  <c:v>0.29770992366412202</c:v>
                </c:pt>
                <c:pt idx="1">
                  <c:v>0.30923694779116501</c:v>
                </c:pt>
                <c:pt idx="2">
                  <c:v>0.36669619131975201</c:v>
                </c:pt>
                <c:pt idx="3">
                  <c:v>0.36484098939929299</c:v>
                </c:pt>
                <c:pt idx="4">
                  <c:v>0.2382550335570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B34-4016-B9BB-E2317574A7AC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1935514511"/>
        <c:axId val="1934395503"/>
      </c:lineChart>
      <c:catAx>
        <c:axId val="19355145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34395503"/>
        <c:crosses val="autoZero"/>
        <c:auto val="1"/>
        <c:lblAlgn val="ctr"/>
        <c:lblOffset val="100"/>
        <c:noMultiLvlLbl val="0"/>
      </c:catAx>
      <c:valAx>
        <c:axId val="19343955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3551451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F5EF9D8-122E-40E3-8D58-5050343CD825}" type="datetimeFigureOut">
              <a:rPr lang="en-US" smtClean="0"/>
              <a:t>9/7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FF9E38-F440-4388-85AF-361793901A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64627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is based on unduplicated head count and </a:t>
            </a:r>
            <a:r>
              <a:rPr lang="en-US" dirty="0" err="1"/>
              <a:t>cohorted</a:t>
            </a:r>
            <a:r>
              <a:rPr lang="en-US" dirty="0"/>
              <a:t> based on time to complet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FF9E38-F440-4388-85AF-361793901A56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30589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F03772-F0E3-4F43-A566-53CCC9C69675}" type="datetimeFigureOut">
              <a:rPr lang="en-US" smtClean="0"/>
              <a:t>9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EAD477-2E94-477D-9EA7-8E4AA098B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25685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F03772-F0E3-4F43-A566-53CCC9C69675}" type="datetimeFigureOut">
              <a:rPr lang="en-US" smtClean="0"/>
              <a:t>9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EAD477-2E94-477D-9EA7-8E4AA098B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0963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F03772-F0E3-4F43-A566-53CCC9C69675}" type="datetimeFigureOut">
              <a:rPr lang="en-US" smtClean="0"/>
              <a:t>9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EAD477-2E94-477D-9EA7-8E4AA098B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7354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70693" y="1769540"/>
            <a:ext cx="9440034" cy="1828801"/>
          </a:xfrm>
        </p:spPr>
        <p:txBody>
          <a:bodyPr anchor="b">
            <a:normAutofit/>
          </a:bodyPr>
          <a:lstStyle>
            <a:lvl1pPr algn="ctr"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0693" y="3598339"/>
            <a:ext cx="9440034" cy="1049867"/>
          </a:xfrm>
        </p:spPr>
        <p:txBody>
          <a:bodyPr anchor="t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B0C44-5B28-495E-A020-6785C9410D38}" type="datetimeFigureOut">
              <a:rPr lang="en-US" smtClean="0"/>
              <a:t>9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856C2-6CA8-4989-BEB2-F510FB5A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6818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B0C44-5B28-495E-A020-6785C9410D38}" type="datetimeFigureOut">
              <a:rPr lang="en-US" smtClean="0"/>
              <a:t>9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856C2-6CA8-4989-BEB2-F510FB5A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75782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1" y="1761067"/>
            <a:ext cx="9590550" cy="1828813"/>
          </a:xfrm>
        </p:spPr>
        <p:txBody>
          <a:bodyPr anchor="b"/>
          <a:lstStyle>
            <a:lvl1pPr algn="ctr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5401" y="3589879"/>
            <a:ext cx="9590550" cy="1507054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B0C44-5B28-495E-A020-6785C9410D38}" type="datetimeFigureOut">
              <a:rPr lang="en-US" smtClean="0"/>
              <a:t>9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856C2-6CA8-4989-BEB2-F510FB5A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93371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3795" y="1732449"/>
            <a:ext cx="5060497" cy="4058750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2892" y="1732449"/>
            <a:ext cx="5064665" cy="4058751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B0C44-5B28-495E-A020-6785C9410D38}" type="datetimeFigureOut">
              <a:rPr lang="en-US" smtClean="0"/>
              <a:t>9/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856C2-6CA8-4989-BEB2-F510FB5A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23972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 descr="Slate-V2-HD-compPhotoInset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795" y="1734506"/>
            <a:ext cx="5089072" cy="4148769"/>
          </a:xfrm>
          <a:prstGeom prst="rect">
            <a:avLst/>
          </a:prstGeom>
        </p:spPr>
      </p:pic>
      <p:pic>
        <p:nvPicPr>
          <p:cNvPr id="21" name="Picture 20" descr="Slate-V2-HD-compPhotoInset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8485" y="1734506"/>
            <a:ext cx="5089072" cy="414876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05872" y="1835254"/>
            <a:ext cx="4876344" cy="544884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05872" y="2380137"/>
            <a:ext cx="4876344" cy="3411063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94967" y="1835254"/>
            <a:ext cx="4895330" cy="54488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94967" y="2380137"/>
            <a:ext cx="4895330" cy="3411063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B0C44-5B28-495E-A020-6785C9410D38}" type="datetimeFigureOut">
              <a:rPr lang="en-US" smtClean="0"/>
              <a:t>9/7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856C2-6CA8-4989-BEB2-F510FB5A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14609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B0C44-5B28-495E-A020-6785C9410D38}" type="datetimeFigureOut">
              <a:rPr lang="en-US" smtClean="0"/>
              <a:t>9/7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856C2-6CA8-4989-BEB2-F510FB5A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42450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B0C44-5B28-495E-A020-6785C9410D38}" type="datetimeFigureOut">
              <a:rPr lang="en-US" smtClean="0"/>
              <a:t>9/7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856C2-6CA8-4989-BEB2-F510FB5A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34884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3706889" cy="1821918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55633" y="609600"/>
            <a:ext cx="6411924" cy="5181600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5" y="2431518"/>
            <a:ext cx="3706889" cy="3359681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B0C44-5B28-495E-A020-6785C9410D38}" type="datetimeFigureOut">
              <a:rPr lang="en-US" smtClean="0"/>
              <a:t>9/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856C2-6CA8-4989-BEB2-F510FB5A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97621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F03772-F0E3-4F43-A566-53CCC9C69675}" type="datetimeFigureOut">
              <a:rPr lang="en-US" smtClean="0"/>
              <a:t>9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EAD477-2E94-477D-9EA7-8E4AA098B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70283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Slate-V2-HD-vertPhotoInset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3665" y="609600"/>
            <a:ext cx="3584166" cy="52048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5" y="609923"/>
            <a:ext cx="5934949" cy="1829338"/>
          </a:xfrm>
        </p:spPr>
        <p:txBody>
          <a:bodyPr anchor="b">
            <a:noAutofit/>
          </a:bodyPr>
          <a:lstStyle>
            <a:lvl1pPr algn="ctr">
              <a:defRPr sz="3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442551" y="763702"/>
            <a:ext cx="3275751" cy="4912822"/>
          </a:xfrm>
          <a:effectLst>
            <a:outerShdw blurRad="38100" dist="25400" dir="4440000">
              <a:srgbClr val="000000">
                <a:alpha val="36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5" y="2439261"/>
            <a:ext cx="5934949" cy="3376134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B0C44-5B28-495E-A020-6785C9410D38}" type="datetimeFigureOut">
              <a:rPr lang="en-US" smtClean="0"/>
              <a:t>9/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856C2-6CA8-4989-BEB2-F510FB5A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69661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Slate-V2-HD-panoPhotoInset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883" y="547807"/>
            <a:ext cx="10141799" cy="381680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806" y="4565255"/>
            <a:ext cx="10355326" cy="543472"/>
          </a:xfrm>
        </p:spPr>
        <p:txBody>
          <a:bodyPr anchor="b">
            <a:normAutofit/>
          </a:bodyPr>
          <a:lstStyle>
            <a:lvl1pPr algn="ctr"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69349" y="695009"/>
            <a:ext cx="9845346" cy="3525671"/>
          </a:xfrm>
          <a:effectLst>
            <a:outerShdw blurRad="38100" dist="25400" dir="4440000">
              <a:srgbClr val="000000">
                <a:alpha val="36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5" y="5108728"/>
            <a:ext cx="10353762" cy="682472"/>
          </a:xfrm>
        </p:spPr>
        <p:txBody>
          <a:bodyPr anchor="t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B0C44-5B28-495E-A020-6785C9410D38}" type="datetimeFigureOut">
              <a:rPr lang="en-US" smtClean="0"/>
              <a:t>9/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856C2-6CA8-4989-BEB2-F510FB5A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270711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5" y="608437"/>
            <a:ext cx="10353762" cy="3534344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4" y="4295180"/>
            <a:ext cx="10353763" cy="1501826"/>
          </a:xfrm>
        </p:spPr>
        <p:txBody>
          <a:bodyPr anchor="ctr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B0C44-5B28-495E-A020-6785C9410D38}" type="datetimeFigureOut">
              <a:rPr lang="en-US" smtClean="0"/>
              <a:t>9/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856C2-6CA8-4989-BEB2-F510FB5A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63995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2" y="609600"/>
            <a:ext cx="9302752" cy="2992904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720644" y="3610032"/>
            <a:ext cx="8752299" cy="532749"/>
          </a:xfrm>
        </p:spPr>
        <p:txBody>
          <a:bodyPr anchor="t">
            <a:normAutofit/>
          </a:bodyPr>
          <a:lstStyle>
            <a:lvl1pPr marL="0" indent="0" algn="r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4" y="4304353"/>
            <a:ext cx="10353763" cy="1489496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B0C44-5B28-495E-A020-6785C9410D38}" type="datetimeFigureOut">
              <a:rPr lang="en-US" smtClean="0"/>
              <a:t>9/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856C2-6CA8-4989-BEB2-F510FB5AE03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990600" y="88479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4716" y="292825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47064000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4" y="2126942"/>
            <a:ext cx="10353763" cy="251183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84" y="4650556"/>
            <a:ext cx="10352199" cy="1140644"/>
          </a:xfrm>
        </p:spPr>
        <p:txBody>
          <a:bodyPr anchor="t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B0C44-5B28-495E-A020-6785C9410D38}" type="datetimeFigureOut">
              <a:rPr lang="en-US" smtClean="0"/>
              <a:t>9/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856C2-6CA8-4989-BEB2-F510FB5A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22181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10353762" cy="9704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913795" y="1885950"/>
            <a:ext cx="3300984" cy="576262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913795" y="2571750"/>
            <a:ext cx="3300984" cy="3219450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46711" y="1885950"/>
            <a:ext cx="3300984" cy="576262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4441435" y="2571750"/>
            <a:ext cx="3300984" cy="3219450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66572" y="1885950"/>
            <a:ext cx="3300984" cy="576262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7966572" y="2571750"/>
            <a:ext cx="3300984" cy="3219450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B0C44-5B28-495E-A020-6785C9410D38}" type="datetimeFigureOut">
              <a:rPr lang="en-US" smtClean="0"/>
              <a:t>9/7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856C2-6CA8-4989-BEB2-F510FB5A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766939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Slate-V2-HD-3colPhotoInset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962" y="1818214"/>
            <a:ext cx="3339972" cy="1847851"/>
          </a:xfrm>
          <a:prstGeom prst="rect">
            <a:avLst/>
          </a:prstGeom>
        </p:spPr>
      </p:pic>
      <p:pic>
        <p:nvPicPr>
          <p:cNvPr id="36" name="Picture 35" descr="Slate-V2-HD-3colPhotoInset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3800" y="1818214"/>
            <a:ext cx="3339972" cy="1847851"/>
          </a:xfrm>
          <a:prstGeom prst="rect">
            <a:avLst/>
          </a:prstGeom>
        </p:spPr>
      </p:pic>
      <p:pic>
        <p:nvPicPr>
          <p:cNvPr id="37" name="Picture 36" descr="Slate-V2-HD-3colPhotoInset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051" y="1818214"/>
            <a:ext cx="3339972" cy="1847851"/>
          </a:xfrm>
          <a:prstGeom prst="rect">
            <a:avLst/>
          </a:prstGeom>
        </p:spPr>
      </p:pic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913794" y="609600"/>
            <a:ext cx="10353763" cy="9704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913795" y="3904106"/>
            <a:ext cx="3300984" cy="5762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1018102" y="1938918"/>
            <a:ext cx="3092368" cy="1602954"/>
          </a:xfrm>
          <a:prstGeom prst="roundRect">
            <a:avLst>
              <a:gd name="adj" fmla="val 1858"/>
            </a:avLst>
          </a:prstGeom>
          <a:effectLst>
            <a:outerShdw blurRad="38100" dist="25400" dir="4440000">
              <a:srgbClr val="000000">
                <a:alpha val="36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913795" y="4480368"/>
            <a:ext cx="3300984" cy="1310833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42788" y="3904106"/>
            <a:ext cx="3300984" cy="5762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545743" y="1939094"/>
            <a:ext cx="3092368" cy="1608164"/>
          </a:xfrm>
          <a:prstGeom prst="roundRect">
            <a:avLst>
              <a:gd name="adj" fmla="val 1858"/>
            </a:avLst>
          </a:prstGeom>
          <a:effectLst>
            <a:outerShdw blurRad="38100" dist="25400" dir="4440000">
              <a:srgbClr val="000000">
                <a:alpha val="36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4441435" y="4480367"/>
            <a:ext cx="3300984" cy="1310833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66697" y="3904106"/>
            <a:ext cx="3300984" cy="5762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8075698" y="1934432"/>
            <a:ext cx="3092368" cy="1607294"/>
          </a:xfrm>
          <a:prstGeom prst="roundRect">
            <a:avLst>
              <a:gd name="adj" fmla="val 1858"/>
            </a:avLst>
          </a:prstGeom>
          <a:effectLst>
            <a:outerShdw blurRad="38100" dist="25400" dir="4440000">
              <a:srgbClr val="000000">
                <a:alpha val="36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7966572" y="4480365"/>
            <a:ext cx="3300984" cy="1310835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B0C44-5B28-495E-A020-6785C9410D38}" type="datetimeFigureOut">
              <a:rPr lang="en-US" smtClean="0"/>
              <a:t>9/7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856C2-6CA8-4989-BEB2-F510FB5A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92947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B0C44-5B28-495E-A020-6785C9410D38}" type="datetimeFigureOut">
              <a:rPr lang="en-US" smtClean="0"/>
              <a:t>9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856C2-6CA8-4989-BEB2-F510FB5A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00758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83068" y="609599"/>
            <a:ext cx="2284487" cy="5181601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3796" y="609599"/>
            <a:ext cx="7916872" cy="5181601"/>
          </a:xfrm>
        </p:spPr>
        <p:txBody>
          <a:bodyPr vert="eaVert" anchor="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B0C44-5B28-495E-A020-6785C9410D38}" type="datetimeFigureOut">
              <a:rPr lang="en-US" smtClean="0"/>
              <a:t>9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856C2-6CA8-4989-BEB2-F510FB5A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6128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F03772-F0E3-4F43-A566-53CCC9C69675}" type="datetimeFigureOut">
              <a:rPr lang="en-US" smtClean="0"/>
              <a:t>9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EAD477-2E94-477D-9EA7-8E4AA098B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04625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F03772-F0E3-4F43-A566-53CCC9C69675}" type="datetimeFigureOut">
              <a:rPr lang="en-US" smtClean="0"/>
              <a:t>9/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EAD477-2E94-477D-9EA7-8E4AA098B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42968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F03772-F0E3-4F43-A566-53CCC9C69675}" type="datetimeFigureOut">
              <a:rPr lang="en-US" smtClean="0"/>
              <a:t>9/7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EAD477-2E94-477D-9EA7-8E4AA098B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36023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F03772-F0E3-4F43-A566-53CCC9C69675}" type="datetimeFigureOut">
              <a:rPr lang="en-US" smtClean="0"/>
              <a:t>9/7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EAD477-2E94-477D-9EA7-8E4AA098B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49534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F03772-F0E3-4F43-A566-53CCC9C69675}" type="datetimeFigureOut">
              <a:rPr lang="en-US" smtClean="0"/>
              <a:t>9/7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EAD477-2E94-477D-9EA7-8E4AA098B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74096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F03772-F0E3-4F43-A566-53CCC9C69675}" type="datetimeFigureOut">
              <a:rPr lang="en-US" smtClean="0"/>
              <a:t>9/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EAD477-2E94-477D-9EA7-8E4AA098B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08341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F03772-F0E3-4F43-A566-53CCC9C69675}" type="datetimeFigureOut">
              <a:rPr lang="en-US" smtClean="0"/>
              <a:t>9/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EAD477-2E94-477D-9EA7-8E4AA098B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4623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F03772-F0E3-4F43-A566-53CCC9C69675}" type="datetimeFigureOut">
              <a:rPr lang="en-US" smtClean="0"/>
              <a:t>9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EAD477-2E94-477D-9EA7-8E4AA098B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2105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10353762" cy="970450"/>
          </a:xfrm>
          <a:prstGeom prst="rect">
            <a:avLst/>
          </a:prstGeom>
          <a:effectLst>
            <a:outerShdw blurRad="25400" dir="17880000">
              <a:srgbClr val="000000">
                <a:alpha val="46000"/>
              </a:srgbClr>
            </a:outerShdw>
          </a:effectLst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3795" y="1732449"/>
            <a:ext cx="10353762" cy="4058751"/>
          </a:xfrm>
          <a:prstGeom prst="rect">
            <a:avLst/>
          </a:prstGeom>
          <a:effectLst>
            <a:outerShdw blurRad="25400" dir="17880000">
              <a:srgbClr val="000000">
                <a:alpha val="46000"/>
              </a:srgbClr>
            </a:outerShdw>
          </a:effectLst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78736" y="58832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95000"/>
                  </a:schemeClr>
                </a:solidFill>
                <a:effectLst>
                  <a:outerShdw blurRad="50800" dist="38100" dir="2700000" algn="tl" rotWithShape="0">
                    <a:schemeClr val="bg1">
                      <a:alpha val="43000"/>
                    </a:schemeClr>
                  </a:outerShdw>
                </a:effectLst>
              </a:defRPr>
            </a:lvl1pPr>
          </a:lstStyle>
          <a:p>
            <a:fld id="{72DB0C44-5B28-495E-A020-6785C9410D38}" type="datetimeFigureOut">
              <a:rPr lang="en-US" smtClean="0"/>
              <a:t>9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13795" y="5883275"/>
            <a:ext cx="66728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</a:schemeClr>
                </a:solidFill>
                <a:effectLst>
                  <a:outerShdw blurRad="50800" dist="38100" dir="2700000" algn="tl" rotWithShape="0">
                    <a:schemeClr val="bg1">
                      <a:alpha val="43000"/>
                    </a:schemeClr>
                  </a:outerShdw>
                </a:effectLst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14011" y="5883275"/>
            <a:ext cx="75354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95000"/>
                  </a:schemeClr>
                </a:solidFill>
                <a:effectLst>
                  <a:outerShdw blurRad="50800" dist="38100" dir="2700000" algn="tl" rotWithShape="0">
                    <a:schemeClr val="bg1">
                      <a:alpha val="43000"/>
                    </a:schemeClr>
                  </a:outerShdw>
                </a:effectLst>
              </a:defRPr>
            </a:lvl1pPr>
          </a:lstStyle>
          <a:p>
            <a:fld id="{141856C2-6CA8-4989-BEB2-F510FB5A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18542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txStyles>
    <p:titleStyle>
      <a:lvl1pPr algn="ctr" defTabSz="457200" rtl="0" eaLnBrk="1" latinLnBrk="0" hangingPunct="1">
        <a:spcBef>
          <a:spcPct val="0"/>
        </a:spcBef>
        <a:buNone/>
        <a:defRPr sz="40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j-lt"/>
          <a:ea typeface="+mj-ea"/>
          <a:cs typeface="Trebuchet M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06000" algn="l" defTabSz="457200" rtl="0" eaLnBrk="1" latinLnBrk="0" hangingPunct="1"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"/>
        <a:defRPr sz="20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1pPr>
      <a:lvl2pPr marL="720000" indent="-270000" algn="l" defTabSz="457200" rtl="0" eaLnBrk="1" latinLnBrk="0" hangingPunct="1"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"/>
        <a:defRPr sz="18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2pPr>
      <a:lvl3pPr marL="1026000" indent="-216000" algn="l" defTabSz="457200" rtl="0" eaLnBrk="1" latinLnBrk="0" hangingPunct="1"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"/>
        <a:defRPr sz="16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3pPr>
      <a:lvl4pPr marL="1386000" indent="-216000" algn="l" defTabSz="457200" rtl="0" eaLnBrk="1" latinLnBrk="0" hangingPunct="1"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"/>
        <a:defRPr sz="14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4pPr>
      <a:lvl5pPr marL="1674000" indent="-216000" algn="l" defTabSz="457200" rtl="0" eaLnBrk="1" latinLnBrk="0" hangingPunct="1"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"/>
        <a:defRPr sz="14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5pPr>
      <a:lvl6pPr marL="20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"/>
        <a:defRPr sz="14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6pPr>
      <a:lvl7pPr marL="240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"/>
        <a:defRPr sz="14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7pPr>
      <a:lvl8pPr marL="278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"/>
        <a:defRPr sz="14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8pPr>
      <a:lvl9pPr marL="310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"/>
        <a:defRPr sz="14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.xml"/><Relationship Id="rId4" Type="http://schemas.openxmlformats.org/officeDocument/2006/relationships/chart" Target="../charts/char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canadacollege.edu/prie/dashboards/scorecard-momentum.php" TargetMode="External"/><Relationship Id="rId2" Type="http://schemas.openxmlformats.org/officeDocument/2006/relationships/hyperlink" Target="https://canadacollege.edu/prie/Data-Dashboards.php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calpassplus.org/LaunchBoard/guidedpathways.aspx" TargetMode="External"/><Relationship Id="rId5" Type="http://schemas.openxmlformats.org/officeDocument/2006/relationships/hyperlink" Target="https://canadacollege.edu/planningbudgetingcouncil/2021/Canada_AB705_PBC_Presentation_March3-2021%20PRIE.pdf" TargetMode="External"/><Relationship Id="rId4" Type="http://schemas.openxmlformats.org/officeDocument/2006/relationships/hyperlink" Target="https://canadacollege.edu/prie/College%20Scorecard%20Metrics_20-21%20pending.xlsx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525035"/>
            <a:ext cx="9144000" cy="2387600"/>
          </a:xfrm>
        </p:spPr>
        <p:txBody>
          <a:bodyPr/>
          <a:lstStyle/>
          <a:p>
            <a:r>
              <a:rPr lang="en-US" dirty="0"/>
              <a:t>Guided Pathways </a:t>
            </a:r>
            <a:br>
              <a:rPr lang="en-US" dirty="0"/>
            </a:br>
            <a:r>
              <a:rPr lang="en-US" dirty="0"/>
              <a:t>Key Performance Indicator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004710"/>
            <a:ext cx="9144000" cy="1655762"/>
          </a:xfrm>
        </p:spPr>
        <p:txBody>
          <a:bodyPr>
            <a:normAutofit fontScale="77500" lnSpcReduction="20000"/>
          </a:bodyPr>
          <a:lstStyle/>
          <a:p>
            <a:r>
              <a:rPr lang="en-US" dirty="0"/>
              <a:t>As of September 7, 2021</a:t>
            </a:r>
          </a:p>
          <a:p>
            <a:endParaRPr lang="en-US" dirty="0"/>
          </a:p>
          <a:p>
            <a:r>
              <a:rPr lang="en-US" dirty="0"/>
              <a:t>Prepared by the Office of Planning, Research &amp; Institutional Effectiveness (PRIE)</a:t>
            </a:r>
          </a:p>
          <a:p>
            <a:endParaRPr lang="en-US" dirty="0"/>
          </a:p>
          <a:p>
            <a:r>
              <a:rPr lang="en-US" dirty="0"/>
              <a:t>For the Guided Pathways Steering Committee at Cañada Colleg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3761" y="555546"/>
            <a:ext cx="2524477" cy="1133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42903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7792" y="1924400"/>
            <a:ext cx="10445768" cy="3446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3322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leted both transfer-level math and English in the First Year</a:t>
            </a:r>
          </a:p>
        </p:txBody>
      </p:sp>
      <p:graphicFrame>
        <p:nvGraphicFramePr>
          <p:cNvPr id="3" name="Chart 2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1809376"/>
              </p:ext>
            </p:extLst>
          </p:nvPr>
        </p:nvGraphicFramePr>
        <p:xfrm>
          <a:off x="1031846" y="1728787"/>
          <a:ext cx="10321954" cy="45042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96638193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199" y="365125"/>
            <a:ext cx="10923165" cy="1325563"/>
          </a:xfrm>
        </p:spPr>
        <p:txBody>
          <a:bodyPr/>
          <a:lstStyle/>
          <a:p>
            <a:r>
              <a:rPr lang="en-US" dirty="0"/>
              <a:t>Completed transfer-level math in the First Year</a:t>
            </a:r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5072293"/>
              </p:ext>
            </p:extLst>
          </p:nvPr>
        </p:nvGraphicFramePr>
        <p:xfrm>
          <a:off x="838199" y="1887523"/>
          <a:ext cx="10428216" cy="4538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900949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199" y="365125"/>
            <a:ext cx="11107723" cy="1325563"/>
          </a:xfrm>
        </p:spPr>
        <p:txBody>
          <a:bodyPr/>
          <a:lstStyle/>
          <a:p>
            <a:r>
              <a:rPr lang="en-US" dirty="0"/>
              <a:t>Completed transfer-level English in the First Year</a:t>
            </a:r>
          </a:p>
        </p:txBody>
      </p:sp>
      <p:graphicFrame>
        <p:nvGraphicFramePr>
          <p:cNvPr id="3" name="Chart 2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3692011"/>
              </p:ext>
            </p:extLst>
          </p:nvPr>
        </p:nvGraphicFramePr>
        <p:xfrm>
          <a:off x="838199" y="1690688"/>
          <a:ext cx="10998667" cy="46597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8257962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6862812" y="192505"/>
            <a:ext cx="5149515" cy="6527444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2880" y="301591"/>
            <a:ext cx="6487427" cy="970450"/>
          </a:xfrm>
        </p:spPr>
        <p:txBody>
          <a:bodyPr/>
          <a:lstStyle/>
          <a:p>
            <a:r>
              <a:rPr lang="en-US" dirty="0" smtClean="0"/>
              <a:t>Persistence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6862811" y="192505"/>
          <a:ext cx="5149515" cy="6527451"/>
        </p:xfrm>
        <a:graphic>
          <a:graphicData uri="http://schemas.openxmlformats.org/drawingml/2006/table">
            <a:tbl>
              <a:tblPr/>
              <a:tblGrid>
                <a:gridCol w="2747689">
                  <a:extLst>
                    <a:ext uri="{9D8B030D-6E8A-4147-A177-3AD203B41FA5}">
                      <a16:colId xmlns:a16="http://schemas.microsoft.com/office/drawing/2014/main" val="2003632844"/>
                    </a:ext>
                  </a:extLst>
                </a:gridCol>
                <a:gridCol w="1268163">
                  <a:extLst>
                    <a:ext uri="{9D8B030D-6E8A-4147-A177-3AD203B41FA5}">
                      <a16:colId xmlns:a16="http://schemas.microsoft.com/office/drawing/2014/main" val="2761988496"/>
                    </a:ext>
                  </a:extLst>
                </a:gridCol>
                <a:gridCol w="1133663">
                  <a:extLst>
                    <a:ext uri="{9D8B030D-6E8A-4147-A177-3AD203B41FA5}">
                      <a16:colId xmlns:a16="http://schemas.microsoft.com/office/drawing/2014/main" val="224939332"/>
                    </a:ext>
                  </a:extLst>
                </a:gridCol>
              </a:tblGrid>
              <a:tr h="50652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all 2020 to Spring 2021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all 2020 to Fall 2021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6769953"/>
                  </a:ext>
                </a:extLst>
              </a:tr>
              <a:tr h="28671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verall persistence rates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%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%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6904682"/>
                  </a:ext>
                </a:extLst>
              </a:tr>
              <a:tr h="28671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erm Ethnicity Desc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P21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A21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1962846"/>
                  </a:ext>
                </a:extLst>
              </a:tr>
              <a:tr h="28671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merican Indian/Alaskan Native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%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%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5602139"/>
                  </a:ext>
                </a:extLst>
              </a:tr>
              <a:tr h="28671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sian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%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%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0965879"/>
                  </a:ext>
                </a:extLst>
              </a:tr>
              <a:tr h="28671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lack - Non-Hispanic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600" b="0" i="0" u="none" strike="noStrike">
                          <a:solidFill>
                            <a:srgbClr val="9C0006"/>
                          </a:solidFill>
                          <a:effectLst/>
                          <a:latin typeface="Calibri" panose="020F0502020204030204" pitchFamily="34" charset="0"/>
                        </a:rPr>
                        <a:t>47%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%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5479540"/>
                  </a:ext>
                </a:extLst>
              </a:tr>
              <a:tr h="28671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ilipino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%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%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2392205"/>
                  </a:ext>
                </a:extLst>
              </a:tr>
              <a:tr h="28671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ispanic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%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538084"/>
                  </a:ext>
                </a:extLst>
              </a:tr>
              <a:tr h="28671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ultiraces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%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7349960"/>
                  </a:ext>
                </a:extLst>
              </a:tr>
              <a:tr h="28671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cific Islander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%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%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3675300"/>
                  </a:ext>
                </a:extLst>
              </a:tr>
              <a:tr h="28671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nknown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%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%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0005992"/>
                  </a:ext>
                </a:extLst>
              </a:tr>
              <a:tr h="28671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hite Non-Hispanic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%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600" b="0" i="0" u="none" strike="noStrike">
                          <a:solidFill>
                            <a:srgbClr val="9C0006"/>
                          </a:solidFill>
                          <a:effectLst/>
                          <a:latin typeface="Calibri" panose="020F0502020204030204" pitchFamily="34" charset="0"/>
                        </a:rPr>
                        <a:t>37%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069997"/>
                  </a:ext>
                </a:extLst>
              </a:tr>
              <a:tr h="28671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udent Low Income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P21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A21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001187"/>
                  </a:ext>
                </a:extLst>
              </a:tr>
              <a:tr h="28671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Yes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%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67437161"/>
                  </a:ext>
                </a:extLst>
              </a:tr>
              <a:tr h="28671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%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%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7485382"/>
                  </a:ext>
                </a:extLst>
              </a:tr>
              <a:tr h="28671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nrollment Status Desc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P21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A21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0895449"/>
                  </a:ext>
                </a:extLst>
              </a:tr>
              <a:tr h="28671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ntinuing Student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%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1097348"/>
                  </a:ext>
                </a:extLst>
              </a:tr>
              <a:tr h="28671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irst-Time Student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%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%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2355055"/>
                  </a:ext>
                </a:extLst>
              </a:tr>
              <a:tr h="28671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irst-Time Transfer Student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600" b="0" i="0" u="none" strike="noStrike">
                          <a:solidFill>
                            <a:srgbClr val="9C0006"/>
                          </a:solidFill>
                          <a:effectLst/>
                          <a:latin typeface="Calibri" panose="020F0502020204030204" pitchFamily="34" charset="0"/>
                        </a:rPr>
                        <a:t>55%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600" b="0" i="0" u="none" strike="noStrike">
                          <a:solidFill>
                            <a:srgbClr val="9C0006"/>
                          </a:solidFill>
                          <a:effectLst/>
                          <a:latin typeface="Calibri" panose="020F0502020204030204" pitchFamily="34" charset="0"/>
                        </a:rPr>
                        <a:t>33%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4327760"/>
                  </a:ext>
                </a:extLst>
              </a:tr>
              <a:tr h="28671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t Applicable, Currently K-12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%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600" b="0" i="0" u="none" strike="noStrike">
                          <a:solidFill>
                            <a:srgbClr val="9C0006"/>
                          </a:solidFill>
                          <a:effectLst/>
                          <a:latin typeface="Calibri" panose="020F0502020204030204" pitchFamily="34" charset="0"/>
                        </a:rPr>
                        <a:t>33%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1877020"/>
                  </a:ext>
                </a:extLst>
              </a:tr>
              <a:tr h="28671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turning Student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600" b="0" i="0" u="none" strike="noStrike">
                          <a:solidFill>
                            <a:srgbClr val="9C0006"/>
                          </a:solidFill>
                          <a:effectLst/>
                          <a:latin typeface="Calibri" panose="020F0502020204030204" pitchFamily="34" charset="0"/>
                        </a:rPr>
                        <a:t>45%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600" b="0" i="0" u="none" strike="noStrike" dirty="0">
                          <a:solidFill>
                            <a:srgbClr val="9C0006"/>
                          </a:solidFill>
                          <a:effectLst/>
                          <a:latin typeface="Calibri" panose="020F0502020204030204" pitchFamily="34" charset="0"/>
                        </a:rPr>
                        <a:t>29%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649376"/>
                  </a:ext>
                </a:extLst>
              </a:tr>
              <a:tr h="28671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turning Transfer Student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600" b="0" i="0" u="none" strike="noStrike">
                          <a:solidFill>
                            <a:srgbClr val="9C0006"/>
                          </a:solidFill>
                          <a:effectLst/>
                          <a:latin typeface="Calibri" panose="020F0502020204030204" pitchFamily="34" charset="0"/>
                        </a:rPr>
                        <a:t>46%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600" b="0" i="0" u="none" strike="noStrike" dirty="0">
                          <a:solidFill>
                            <a:srgbClr val="9C0006"/>
                          </a:solidFill>
                          <a:effectLst/>
                          <a:latin typeface="Calibri" panose="020F0502020204030204" pitchFamily="34" charset="0"/>
                        </a:rPr>
                        <a:t>21%</a:t>
                      </a:r>
                    </a:p>
                  </a:txBody>
                  <a:tcPr marL="5943" marR="5943" marT="5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235268"/>
                  </a:ext>
                </a:extLst>
              </a:tr>
            </a:tbl>
          </a:graphicData>
        </a:graphic>
      </p:graphicFrame>
      <p:graphicFrame>
        <p:nvGraphicFramePr>
          <p:cNvPr id="8" name="Chart 7"/>
          <p:cNvGraphicFramePr>
            <a:graphicFrameLocks/>
          </p:cNvGraphicFramePr>
          <p:nvPr>
            <p:custDataLst>
              <p:tags r:id="rId1"/>
            </p:custDataLst>
            <p:extLst/>
          </p:nvPr>
        </p:nvGraphicFramePr>
        <p:xfrm>
          <a:off x="600891" y="2361512"/>
          <a:ext cx="5651404" cy="37697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Rectangle 4"/>
          <p:cNvSpPr/>
          <p:nvPr/>
        </p:nvSpPr>
        <p:spPr>
          <a:xfrm>
            <a:off x="291966" y="6289062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‡ Spring 2020, Summer 2020, Fall 2020, and Spring 2021 were impacted by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ovid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19 and may not be representative of a typical academic year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54922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7049" y="3400926"/>
            <a:ext cx="4476352" cy="970450"/>
          </a:xfrm>
        </p:spPr>
        <p:txBody>
          <a:bodyPr>
            <a:normAutofit fontScale="90000"/>
          </a:bodyPr>
          <a:lstStyle/>
          <a:p>
            <a:r>
              <a:rPr lang="en-US" sz="2800" dirty="0" smtClean="0"/>
              <a:t>Students </a:t>
            </a:r>
            <a:r>
              <a:rPr lang="en-US" sz="2800" u="sng" dirty="0" smtClean="0"/>
              <a:t>persist from fall to spring</a:t>
            </a:r>
            <a:r>
              <a:rPr lang="en-US" sz="2800" dirty="0" smtClean="0"/>
              <a:t> at higher rates with the support of special programs (Promise, EOPS, College for Working Adults, ESO </a:t>
            </a:r>
            <a:r>
              <a:rPr lang="en-US" sz="2800" dirty="0" err="1" smtClean="0"/>
              <a:t>Adelante</a:t>
            </a:r>
            <a:r>
              <a:rPr lang="en-US" sz="2800" dirty="0" smtClean="0"/>
              <a:t>, Puente, COLTS)</a:t>
            </a:r>
            <a:br>
              <a:rPr lang="en-US" sz="2800" dirty="0" smtClean="0"/>
            </a:br>
            <a:r>
              <a:rPr lang="en-US" sz="2800" dirty="0"/>
              <a:t/>
            </a:r>
            <a:br>
              <a:rPr lang="en-US" sz="2800" dirty="0"/>
            </a:br>
            <a:r>
              <a:rPr lang="en-US" sz="2800" dirty="0" smtClean="0"/>
              <a:t/>
            </a:r>
            <a:br>
              <a:rPr lang="en-US" sz="2800" dirty="0" smtClean="0"/>
            </a:br>
            <a:endParaRPr lang="en-US" sz="2800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6438696" y="867883"/>
          <a:ext cx="4563328" cy="5311371"/>
        </p:xfrm>
        <a:graphic>
          <a:graphicData uri="http://schemas.openxmlformats.org/drawingml/2006/table">
            <a:tbl>
              <a:tblPr firstRow="1" firstCol="1">
                <a:tableStyleId>{93296810-A885-4BE3-A3E7-6D5BEEA58F35}</a:tableStyleId>
              </a:tblPr>
              <a:tblGrid>
                <a:gridCol w="1805272">
                  <a:extLst>
                    <a:ext uri="{9D8B030D-6E8A-4147-A177-3AD203B41FA5}">
                      <a16:colId xmlns:a16="http://schemas.microsoft.com/office/drawing/2014/main" val="196788986"/>
                    </a:ext>
                  </a:extLst>
                </a:gridCol>
                <a:gridCol w="1263691">
                  <a:extLst>
                    <a:ext uri="{9D8B030D-6E8A-4147-A177-3AD203B41FA5}">
                      <a16:colId xmlns:a16="http://schemas.microsoft.com/office/drawing/2014/main" val="1678662838"/>
                    </a:ext>
                  </a:extLst>
                </a:gridCol>
                <a:gridCol w="1494365">
                  <a:extLst>
                    <a:ext uri="{9D8B030D-6E8A-4147-A177-3AD203B41FA5}">
                      <a16:colId xmlns:a16="http://schemas.microsoft.com/office/drawing/2014/main" val="111410122"/>
                    </a:ext>
                  </a:extLst>
                </a:gridCol>
              </a:tblGrid>
              <a:tr h="293809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 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Persistence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4296905"/>
                  </a:ext>
                </a:extLst>
              </a:tr>
              <a:tr h="580971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 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effectLst/>
                        </a:rPr>
                        <a:t>Special Program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effectLst/>
                        </a:rPr>
                        <a:t>No Special Program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531110149"/>
                  </a:ext>
                </a:extLst>
              </a:tr>
              <a:tr h="293809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Full Time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effectLst/>
                        </a:rPr>
                        <a:t>95%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effectLst/>
                        </a:rPr>
                        <a:t>79%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98391882"/>
                  </a:ext>
                </a:extLst>
              </a:tr>
              <a:tr h="293809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Part Time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effectLst/>
                        </a:rPr>
                        <a:t>83%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effectLst/>
                        </a:rPr>
                        <a:t>52%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657313711"/>
                  </a:ext>
                </a:extLst>
              </a:tr>
              <a:tr h="293809">
                <a:tc>
                  <a:txBody>
                    <a:bodyPr/>
                    <a:lstStyle/>
                    <a:p>
                      <a:pPr algn="l" fontAlgn="b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919060233"/>
                  </a:ext>
                </a:extLst>
              </a:tr>
              <a:tr h="293809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effectLst/>
                        </a:rPr>
                        <a:t>Low Income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</a:rPr>
                        <a:t>95%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effectLst/>
                        </a:rPr>
                        <a:t>71%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434041211"/>
                  </a:ext>
                </a:extLst>
              </a:tr>
              <a:tr h="293809">
                <a:tc>
                  <a:txBody>
                    <a:bodyPr/>
                    <a:lstStyle/>
                    <a:p>
                      <a:pPr algn="l" fontAlgn="b"/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436438940"/>
                  </a:ext>
                </a:extLst>
              </a:tr>
              <a:tr h="293809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Asian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effectLst/>
                        </a:rPr>
                        <a:t>100%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effectLst/>
                        </a:rPr>
                        <a:t>67%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03970660"/>
                  </a:ext>
                </a:extLst>
              </a:tr>
              <a:tr h="623721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Black - Non-Hispanic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effectLst/>
                        </a:rPr>
                        <a:t>100%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effectLst/>
                        </a:rPr>
                        <a:t>25%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992214737"/>
                  </a:ext>
                </a:extLst>
              </a:tr>
              <a:tr h="293809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Filipino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effectLst/>
                        </a:rPr>
                        <a:t>100%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effectLst/>
                        </a:rPr>
                        <a:t>100%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075212077"/>
                  </a:ext>
                </a:extLst>
              </a:tr>
              <a:tr h="293809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Hispanic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effectLst/>
                        </a:rPr>
                        <a:t>91%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effectLst/>
                        </a:rPr>
                        <a:t>61%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152494964"/>
                  </a:ext>
                </a:extLst>
              </a:tr>
              <a:tr h="293809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Multiraces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effectLst/>
                        </a:rPr>
                        <a:t>100%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effectLst/>
                        </a:rPr>
                        <a:t>67%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467603947"/>
                  </a:ext>
                </a:extLst>
              </a:tr>
              <a:tr h="293809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Pacific Islander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effectLst/>
                        </a:rPr>
                        <a:t>100%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effectLst/>
                        </a:rPr>
                        <a:t> 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957741115"/>
                  </a:ext>
                </a:extLst>
              </a:tr>
              <a:tr h="293809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Unknown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effectLst/>
                        </a:rPr>
                        <a:t>100%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effectLst/>
                        </a:rPr>
                        <a:t>75%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607574482"/>
                  </a:ext>
                </a:extLst>
              </a:tr>
              <a:tr h="580971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White Non-Hispanic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effectLst/>
                        </a:rPr>
                        <a:t>100%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</a:rPr>
                        <a:t>71%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173762374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438696" y="6304547"/>
            <a:ext cx="20584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ll 2020 first time cohort</a:t>
            </a:r>
          </a:p>
        </p:txBody>
      </p:sp>
    </p:spTree>
    <p:extLst>
      <p:ext uri="{BB962C8B-B14F-4D97-AF65-F5344CB8AC3E}">
        <p14:creationId xmlns:p14="http://schemas.microsoft.com/office/powerpoint/2010/main" val="3946291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it completion thresholds:  all student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6650" y="1777285"/>
            <a:ext cx="11170917" cy="4598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62787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it completion thresholds:  </a:t>
            </a:r>
            <a:r>
              <a:rPr lang="en-US" dirty="0" smtClean="0"/>
              <a:t>low income </a:t>
            </a:r>
            <a:r>
              <a:rPr lang="en-US" dirty="0"/>
              <a:t>student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4252" y="1947412"/>
            <a:ext cx="10160767" cy="4082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81116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nit completion:  full time students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1831" y="2010110"/>
            <a:ext cx="9993882" cy="4257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29010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nit completion:  part time students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8514" y="2053087"/>
            <a:ext cx="10328965" cy="427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55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ey Performance Indicator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ccess:  first time enrollments</a:t>
            </a:r>
          </a:p>
          <a:p>
            <a:r>
              <a:rPr lang="en-US" dirty="0" smtClean="0"/>
              <a:t>Success:  course success rates</a:t>
            </a:r>
          </a:p>
          <a:p>
            <a:r>
              <a:rPr lang="en-US" dirty="0" smtClean="0"/>
              <a:t>Momentum:  transfer level math and English completion in 1st year</a:t>
            </a:r>
          </a:p>
          <a:p>
            <a:r>
              <a:rPr lang="en-US" dirty="0" smtClean="0"/>
              <a:t>Momentum:  persistence</a:t>
            </a:r>
          </a:p>
          <a:p>
            <a:r>
              <a:rPr lang="en-US" dirty="0" smtClean="0"/>
              <a:t>Momentum:  unit completion</a:t>
            </a:r>
          </a:p>
          <a:p>
            <a:r>
              <a:rPr lang="en-US" dirty="0" smtClean="0"/>
              <a:t>Completion:  degree and certificate attain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730603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421FF1-0112-4C43-BE75-F011D7D5C5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gree completion</a:t>
            </a:r>
            <a:endParaRPr lang="en-US" dirty="0"/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C62F5902-3D64-40E9-A53D-39B852D3492D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2905958"/>
              </p:ext>
            </p:extLst>
          </p:nvPr>
        </p:nvGraphicFramePr>
        <p:xfrm>
          <a:off x="838200" y="1690688"/>
          <a:ext cx="10515600" cy="46583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5207923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Degree Completion by Race/Ethnicity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8040146"/>
              </p:ext>
            </p:extLst>
          </p:nvPr>
        </p:nvGraphicFramePr>
        <p:xfrm>
          <a:off x="2060154" y="1690599"/>
          <a:ext cx="7395588" cy="4089009"/>
        </p:xfrm>
        <a:graphic>
          <a:graphicData uri="http://schemas.openxmlformats.org/drawingml/2006/table">
            <a:tbl>
              <a:tblPr>
                <a:tableStyleId>{10A1B5D5-9B99-4C35-A422-299274C87663}</a:tableStyleId>
              </a:tblPr>
              <a:tblGrid>
                <a:gridCol w="2472984">
                  <a:extLst>
                    <a:ext uri="{9D8B030D-6E8A-4147-A177-3AD203B41FA5}">
                      <a16:colId xmlns:a16="http://schemas.microsoft.com/office/drawing/2014/main" val="1807800248"/>
                    </a:ext>
                  </a:extLst>
                </a:gridCol>
                <a:gridCol w="1505352">
                  <a:extLst>
                    <a:ext uri="{9D8B030D-6E8A-4147-A177-3AD203B41FA5}">
                      <a16:colId xmlns:a16="http://schemas.microsoft.com/office/drawing/2014/main" val="735851536"/>
                    </a:ext>
                  </a:extLst>
                </a:gridCol>
                <a:gridCol w="1538269">
                  <a:extLst>
                    <a:ext uri="{9D8B030D-6E8A-4147-A177-3AD203B41FA5}">
                      <a16:colId xmlns:a16="http://schemas.microsoft.com/office/drawing/2014/main" val="3351271560"/>
                    </a:ext>
                  </a:extLst>
                </a:gridCol>
                <a:gridCol w="1878983">
                  <a:extLst>
                    <a:ext uri="{9D8B030D-6E8A-4147-A177-3AD203B41FA5}">
                      <a16:colId xmlns:a16="http://schemas.microsoft.com/office/drawing/2014/main" val="3520699630"/>
                    </a:ext>
                  </a:extLst>
                </a:gridCol>
              </a:tblGrid>
              <a:tr h="1788942"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</a:rPr>
                        <a:t>Home Campus Students </a:t>
                      </a:r>
                      <a:endParaRPr lang="en-US" sz="1600" u="none" strike="noStrike" dirty="0" smtClean="0">
                        <a:effectLst/>
                      </a:endParaRPr>
                    </a:p>
                    <a:p>
                      <a:pPr algn="ctr" fontAlgn="ctr"/>
                      <a:r>
                        <a:rPr lang="en-US" sz="1600" u="none" strike="noStrike" dirty="0" smtClean="0">
                          <a:effectLst/>
                        </a:rPr>
                        <a:t>2019-202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</a:rPr>
                        <a:t>% of all Associate Degree </a:t>
                      </a:r>
                      <a:r>
                        <a:rPr lang="en-US" sz="1600" u="none" strike="noStrike" dirty="0" smtClean="0">
                          <a:effectLst/>
                        </a:rPr>
                        <a:t>Earners</a:t>
                      </a:r>
                    </a:p>
                    <a:p>
                      <a:pPr algn="ctr" fontAlgn="ctr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-202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</a:rPr>
                        <a:t>Proportion (1= perfectly proportionate to enrolled home campus students)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2852415"/>
                  </a:ext>
                </a:extLst>
              </a:tr>
              <a:tr h="255563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AI/AN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0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0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0.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81069040"/>
                  </a:ext>
                </a:extLst>
              </a:tr>
              <a:tr h="255563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Asian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5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9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.9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55811573"/>
                  </a:ext>
                </a:extLst>
              </a:tr>
              <a:tr h="255563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Black/African American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2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3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.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53151522"/>
                  </a:ext>
                </a:extLst>
              </a:tr>
              <a:tr h="255563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Filipino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0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0.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3393227"/>
                  </a:ext>
                </a:extLst>
              </a:tr>
              <a:tr h="255563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Hispanic/Latinx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28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62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2.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80290484"/>
                  </a:ext>
                </a:extLst>
              </a:tr>
              <a:tr h="255563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Pacific Islande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0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0.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1399531"/>
                  </a:ext>
                </a:extLst>
              </a:tr>
              <a:tr h="255563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Whit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4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23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.6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080016273"/>
                  </a:ext>
                </a:extLst>
              </a:tr>
              <a:tr h="255563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Multiraces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2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4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.6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900831383"/>
                  </a:ext>
                </a:extLst>
              </a:tr>
              <a:tr h="255563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Unknown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7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0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0.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41212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5015065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% of First-Time students who were enrolled full-time at Cañada during the academic year</a:t>
            </a: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762DA544-4958-4D3D-9D7A-DC22FF6A478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6626804"/>
              </p:ext>
            </p:extLst>
          </p:nvPr>
        </p:nvGraphicFramePr>
        <p:xfrm>
          <a:off x="838200" y="1690687"/>
          <a:ext cx="10515600" cy="46609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93329710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Cañada College PRIE dashboards: </a:t>
            </a:r>
          </a:p>
          <a:p>
            <a:pPr marL="457200" lvl="1" indent="0">
              <a:buNone/>
            </a:pPr>
            <a:r>
              <a:rPr lang="en-US" dirty="0">
                <a:hlinkClick r:id="rId2"/>
              </a:rPr>
              <a:t>https://canadacollege.edu/prie/Data-Dashboards.php</a:t>
            </a:r>
            <a:endParaRPr lang="en-US" dirty="0"/>
          </a:p>
          <a:p>
            <a:r>
              <a:rPr lang="en-US" dirty="0"/>
              <a:t>Cañada College Guided Pathways (Scorecard Momentum) dashboard: </a:t>
            </a:r>
          </a:p>
          <a:p>
            <a:pPr marL="457200" lvl="1" indent="0">
              <a:buNone/>
            </a:pPr>
            <a:r>
              <a:rPr lang="en-US" dirty="0">
                <a:hlinkClick r:id="rId3"/>
              </a:rPr>
              <a:t>https://canadacollege.edu/prie/dashboards/scorecard-momentum.php</a:t>
            </a:r>
            <a:endParaRPr lang="en-US" dirty="0"/>
          </a:p>
          <a:p>
            <a:r>
              <a:rPr lang="en-US" dirty="0"/>
              <a:t>Cañada College Scorecard:</a:t>
            </a:r>
          </a:p>
          <a:p>
            <a:pPr marL="457200" lvl="1" indent="0">
              <a:buNone/>
            </a:pPr>
            <a:r>
              <a:rPr lang="en-US" dirty="0">
                <a:hlinkClick r:id="rId4"/>
              </a:rPr>
              <a:t>https://</a:t>
            </a:r>
            <a:r>
              <a:rPr lang="en-US" dirty="0" smtClean="0">
                <a:hlinkClick r:id="rId4"/>
              </a:rPr>
              <a:t>canadacollege.edu/prie/College%20Scorecard%20Metrics_20-21%20pending.xlsx</a:t>
            </a:r>
            <a:endParaRPr lang="en-US" dirty="0" smtClean="0"/>
          </a:p>
          <a:p>
            <a:r>
              <a:rPr lang="en-US" dirty="0" smtClean="0">
                <a:hlinkClick r:id="rId5"/>
              </a:rPr>
              <a:t>PRIE Analysis of Ca</a:t>
            </a:r>
            <a:r>
              <a:rPr lang="en-US" dirty="0">
                <a:hlinkClick r:id="rId5"/>
              </a:rPr>
              <a:t>ñ</a:t>
            </a:r>
            <a:r>
              <a:rPr lang="en-US" dirty="0" smtClean="0">
                <a:hlinkClick r:id="rId5"/>
              </a:rPr>
              <a:t>ada’s Implementation of AB 705 to the Planning and Budgeting Council on March 3, 2021</a:t>
            </a:r>
            <a:endParaRPr lang="en-US" dirty="0"/>
          </a:p>
          <a:p>
            <a:r>
              <a:rPr lang="en-US" dirty="0"/>
              <a:t>State </a:t>
            </a:r>
            <a:r>
              <a:rPr lang="en-US" dirty="0" err="1" smtClean="0"/>
              <a:t>LaunchBoard</a:t>
            </a:r>
            <a:r>
              <a:rPr lang="en-US" dirty="0" smtClean="0"/>
              <a:t> </a:t>
            </a:r>
            <a:r>
              <a:rPr lang="en-US" dirty="0"/>
              <a:t>for Guided Pathways:  </a:t>
            </a:r>
          </a:p>
          <a:p>
            <a:pPr marL="457200" lvl="1" indent="0">
              <a:buNone/>
            </a:pPr>
            <a:r>
              <a:rPr lang="en-US" dirty="0">
                <a:hlinkClick r:id="rId6"/>
              </a:rPr>
              <a:t>https://www.calpassplus.org/LaunchBoard/guidedpathways.aspx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19407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rst Time Students at Cañada</a:t>
            </a:r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2139969"/>
              </p:ext>
            </p:extLst>
          </p:nvPr>
        </p:nvGraphicFramePr>
        <p:xfrm>
          <a:off x="931653" y="1690688"/>
          <a:ext cx="9877245" cy="44598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9130942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dirty="0"/>
              <a:t>Course Success Rate for First Time </a:t>
            </a:r>
            <a:r>
              <a:rPr lang="en-US" sz="3200" dirty="0" smtClean="0"/>
              <a:t>Students v. All Students</a:t>
            </a:r>
            <a:endParaRPr lang="en-US" sz="3200" dirty="0"/>
          </a:p>
        </p:txBody>
      </p:sp>
      <p:graphicFrame>
        <p:nvGraphicFramePr>
          <p:cNvPr id="3" name="Chart 2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0661997"/>
              </p:ext>
            </p:extLst>
          </p:nvPr>
        </p:nvGraphicFramePr>
        <p:xfrm>
          <a:off x="956345" y="1602297"/>
          <a:ext cx="10175846" cy="4907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4728883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urse Success by Race/Ethnicity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5554" y="1917399"/>
            <a:ext cx="9378261" cy="4736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35024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urse Success by FT/PT status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6991" y="2001499"/>
            <a:ext cx="9322729" cy="4634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9435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lide2" descr="Disproportionate Impact">
            <a:extLst>
              <a:ext uri="{FF2B5EF4-FFF2-40B4-BE49-F238E27FC236}">
                <a16:creationId xmlns:a16="http://schemas.microsoft.com/office/drawing/2014/main" id="{5FABF058-9542-4AD4-A2F0-0BC3FC89CCF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20" r="20531" b="37886"/>
          <a:stretch/>
        </p:blipFill>
        <p:spPr>
          <a:xfrm>
            <a:off x="366562" y="952900"/>
            <a:ext cx="11299257" cy="4321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210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/>
          <a:srcRect t="3412" r="1942" b="7347"/>
          <a:stretch/>
        </p:blipFill>
        <p:spPr>
          <a:xfrm>
            <a:off x="616162" y="279133"/>
            <a:ext cx="10520267" cy="327258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6162" y="3946359"/>
            <a:ext cx="10547568" cy="2338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180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lide2" descr="Disproportionate Impact">
            <a:extLst>
              <a:ext uri="{FF2B5EF4-FFF2-40B4-BE49-F238E27FC236}">
                <a16:creationId xmlns:a16="http://schemas.microsoft.com/office/drawing/2014/main" id="{5FABF058-9542-4AD4-A2F0-0BC3FC89CCF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4281" r="17766"/>
          <a:stretch/>
        </p:blipFill>
        <p:spPr>
          <a:xfrm>
            <a:off x="482719" y="1120274"/>
            <a:ext cx="11268123" cy="489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9843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32380943_B8A6_4217_874C_15E28CD4746E&quot;,&quot;SourceFullName&quot;:&quot;C:\\Users\\engelk\\OneDrive - San Mateo County Community College District\\Guided Pathways\\Key Performance Indicators\\Data for KPIs Sept 7 2021.xlsx&quot;,&quot;LastUpdate&quot;:&quot;2021-09-07 2:23 PM&quot;,&quot;UpdatedBy&quot;:&quot;engelk&quot;,&quot;IsLinked&quot;:false,&quot;IsBrokenLink&quot;:false,&quot;Type&quot;:1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89B391FE_F7FF_42A8_BF3F_73F31AEC1105&quot;,&quot;SourceFullName&quot;:&quot;C:\\Users\\engelk\\OneDrive - San Mateo County Community College District\\Guided Pathways\\Key Performance Indicators\\Data for KPIs Sept 7 2021.xlsx&quot;,&quot;LastUpdate&quot;:&quot;2021-09-07 9:13 AM&quot;,&quot;UpdatedBy&quot;:&quot;engelk&quot;,&quot;IsLinked&quot;:false,&quot;IsBrokenLink&quot;:false,&quot;Type&quot;:1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33F3A640_5E11_4126_8B9B_1A489FD169C9&quot;,&quot;SourceFullName&quot;:&quot;C:\\Users\\engelk\\OneDrive - San Mateo County Community College District\\Guided Pathways\\Key Performance Indicators\\Data for KPIs Sept 7 2021.xlsx&quot;,&quot;LastUpdate&quot;:&quot;2021-09-07 9:20 AM&quot;,&quot;UpdatedBy&quot;:&quot;engelk&quot;,&quot;IsLinked&quot;:false,&quot;IsBrokenLink&quot;:false,&quot;Type&quot;:1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98CDDB44_B0C6_43B3_9990_596AE237D7CF&quot;,&quot;SourceFullName&quot;:&quot;C:\\Users\\engelk\\OneDrive - San Mateo County Community College District\\Guided Pathways\\Key Performance Indicators\\Data for KPIs Sept 7 2021.xlsx&quot;,&quot;LastUpdate&quot;:&quot;2021-09-07 9:27 AM&quot;,&quot;UpdatedBy&quot;:&quot;engelk&quot;,&quot;IsLinked&quot;:false,&quot;IsBrokenLink&quot;:false,&quot;Type&quot;:1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191EEB6D_9348_4BCC_99CC_3E75328DB8A1&quot;,&quot;SourceFullName&quot;:&quot;C:\\Users\\engelk\\OneDrive - San Mateo County Community College District\\Guided Pathways\\Key Performance Indicators\\Data for KPIs Sept 7 2021.xlsx&quot;,&quot;LastUpdate&quot;:&quot;2021-09-07 9:28 AM&quot;,&quot;UpdatedBy&quot;:&quot;engelk&quot;,&quot;IsLinked&quot;:false,&quot;IsBrokenLink&quot;:false,&quot;Type&quot;:1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27342D64_68B3_4F4E_BCB2_443E3D529C0D&quot;,&quot;SourceFullName&quot;:&quot;C:\\Users\\engelk\\Dropbox (SMCCD)\\PRIE - Canada College\\Scorecard\\20-21 Scorecard\\College Scorecard Metrics_20-21_2021-8-5.xlsx&quot;,&quot;LastUpdate&quot;:&quot;2021-08-12 4:03 PM&quot;,&quot;UpdatedBy&quot;:&quot;engelk&quot;,&quot;IsLinked&quot;:false,&quot;IsBrokenLink&quot;:false,&quot;Type&quot;:1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604C500E_F7D1_4212_AB14_B7DA18B77D96&quot;,&quot;SourceFullName&quot;:&quot;Book1&quot;,&quot;LastUpdate&quot;:&quot;2021-09-07 12:06 PM&quot;,&quot;UpdatedBy&quot;:&quot;engelk&quot;,&quot;IsLinked&quot;:false,&quot;IsBrokenLink&quot;:false,&quot;Type&quot;:1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A003D71E_2920_4B77_9038_D6D1EF49B960&quot;,&quot;SourceFullName&quot;:&quot;C:\\Users\\claxtona\\Downloads\\New__Document (15).xlsx&quot;,&quot;LastUpdate&quot;:&quot;2021-09-07 12:42 PM&quot;,&quot;UpdatedBy&quot;:&quot;engelk&quot;,&quot;IsLinked&quot;:false,&quot;IsBrokenLink&quot;:false,&quot;Type&quot;:1}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late">
  <a:themeElements>
    <a:clrScheme name="Custom 4">
      <a:dk1>
        <a:sysClr val="windowText" lastClr="000000"/>
      </a:dk1>
      <a:lt1>
        <a:sysClr val="window" lastClr="FFFFFF"/>
      </a:lt1>
      <a:dk2>
        <a:srgbClr val="006342"/>
      </a:dk2>
      <a:lt2>
        <a:srgbClr val="F2F5D7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F2F5D7"/>
      </a:hlink>
      <a:folHlink>
        <a:srgbClr val="BA690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shade val="80000"/>
                <a:lumMod val="80000"/>
              </a:schemeClr>
              <a:schemeClr val="phClr">
                <a:tint val="98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ate" id="{C3F70B94-7CE9-428E-ADC1-3269CC2C3385}" vid="{3F2DE9A5-64E6-437C-A389-CC4477E817E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33</TotalTime>
  <Words>594</Words>
  <Application>Microsoft Office PowerPoint</Application>
  <PresentationFormat>Widescreen</PresentationFormat>
  <Paragraphs>189</Paragraphs>
  <Slides>23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3</vt:i4>
      </vt:variant>
    </vt:vector>
  </HeadingPairs>
  <TitlesOfParts>
    <vt:vector size="30" baseType="lpstr">
      <vt:lpstr>Arial</vt:lpstr>
      <vt:lpstr>Calibri</vt:lpstr>
      <vt:lpstr>Calibri Light</vt:lpstr>
      <vt:lpstr>Trebuchet MS</vt:lpstr>
      <vt:lpstr>Wingdings 2</vt:lpstr>
      <vt:lpstr>Office Theme</vt:lpstr>
      <vt:lpstr>Slate</vt:lpstr>
      <vt:lpstr>Guided Pathways  Key Performance Indicators</vt:lpstr>
      <vt:lpstr>Key Performance Indicators</vt:lpstr>
      <vt:lpstr>First Time Students at Cañada</vt:lpstr>
      <vt:lpstr>Course Success Rate for First Time Students v. All Students</vt:lpstr>
      <vt:lpstr>Course Success by Race/Ethnicity</vt:lpstr>
      <vt:lpstr>Course Success by FT/PT status</vt:lpstr>
      <vt:lpstr>PowerPoint Presentation</vt:lpstr>
      <vt:lpstr>PowerPoint Presentation</vt:lpstr>
      <vt:lpstr>PowerPoint Presentation</vt:lpstr>
      <vt:lpstr>PowerPoint Presentation</vt:lpstr>
      <vt:lpstr>Completed both transfer-level math and English in the First Year</vt:lpstr>
      <vt:lpstr>Completed transfer-level math in the First Year</vt:lpstr>
      <vt:lpstr>Completed transfer-level English in the First Year</vt:lpstr>
      <vt:lpstr>Persistence</vt:lpstr>
      <vt:lpstr>Students persist from fall to spring at higher rates with the support of special programs (Promise, EOPS, College for Working Adults, ESO Adelante, Puente, COLTS)   </vt:lpstr>
      <vt:lpstr>Unit completion thresholds:  all students</vt:lpstr>
      <vt:lpstr>Unit completion thresholds:  low income students</vt:lpstr>
      <vt:lpstr>Unit completion:  full time students</vt:lpstr>
      <vt:lpstr>Unit completion:  part time students</vt:lpstr>
      <vt:lpstr>Degree completion</vt:lpstr>
      <vt:lpstr>Degree Completion by Race/Ethnicity</vt:lpstr>
      <vt:lpstr>% of First-Time students who were enrolled full-time at Cañada during the academic year</vt:lpstr>
      <vt:lpstr>Resour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uided Pathways  Key Performance Indicators</dc:title>
  <dc:creator>Engel, Karen</dc:creator>
  <cp:lastModifiedBy>Engel, Karen</cp:lastModifiedBy>
  <cp:revision>20</cp:revision>
  <dcterms:created xsi:type="dcterms:W3CDTF">2021-09-07T15:37:24Z</dcterms:created>
  <dcterms:modified xsi:type="dcterms:W3CDTF">2021-09-07T21:26:22Z</dcterms:modified>
</cp:coreProperties>
</file>